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74" r:id="rId2"/>
  </p:sldIdLst>
  <p:sldSz cx="9144000" cy="6858000" type="screen4x3"/>
  <p:notesSz cx="6807200" cy="9939338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mitani,Akinori 富谷聡学(安全性推進部安全性コミュニケＧ)" initials="T富" lastIdx="4" clrIdx="0">
    <p:extLst>
      <p:ext uri="{19B8F6BF-5375-455C-9EA6-DF929625EA0E}">
        <p15:presenceInfo xmlns:p15="http://schemas.microsoft.com/office/powerpoint/2012/main" userId="S-1-5-21-73586283-1757981266-1417001333-23758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060"/>
    <a:srgbClr val="0066FF"/>
    <a:srgbClr val="000066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中間スタイル 4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B4B98B0-60AC-42C2-AFA5-B58CD77FA1E5}" styleName="淡色スタイル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632" autoAdjust="0"/>
    <p:restoredTop sz="94660"/>
  </p:normalViewPr>
  <p:slideViewPr>
    <p:cSldViewPr snapToGrid="0">
      <p:cViewPr varScale="1">
        <p:scale>
          <a:sx n="85" d="100"/>
          <a:sy n="85" d="100"/>
        </p:scale>
        <p:origin x="37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8" Type="http://schemas.openxmlformats.org/officeDocument/2006/relationships/image" Target="../media/image9.wmf"/><Relationship Id="rId3" Type="http://schemas.openxmlformats.org/officeDocument/2006/relationships/image" Target="../media/image4.wmf"/><Relationship Id="rId7" Type="http://schemas.openxmlformats.org/officeDocument/2006/relationships/image" Target="../media/image8.wmf"/><Relationship Id="rId2" Type="http://schemas.openxmlformats.org/officeDocument/2006/relationships/image" Target="../media/image3.wmf"/><Relationship Id="rId1" Type="http://schemas.openxmlformats.org/officeDocument/2006/relationships/image" Target="../media/image2.wmf"/><Relationship Id="rId6" Type="http://schemas.openxmlformats.org/officeDocument/2006/relationships/image" Target="../media/image7.wmf"/><Relationship Id="rId5" Type="http://schemas.openxmlformats.org/officeDocument/2006/relationships/image" Target="../media/image6.wmf"/><Relationship Id="rId4" Type="http://schemas.openxmlformats.org/officeDocument/2006/relationships/image" Target="../media/image5.wmf"/><Relationship Id="rId9" Type="http://schemas.openxmlformats.org/officeDocument/2006/relationships/image" Target="../media/image10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DE9414-764C-4C69-89FA-63FF2738E9D3}" type="datetimeFigureOut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3013"/>
            <a:ext cx="4473575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1038" y="4783138"/>
            <a:ext cx="5445125" cy="39131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1C69F-E2EF-4DBA-BB86-2A9F978F701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970734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正方形/長方形 7"/>
          <p:cNvSpPr/>
          <p:nvPr userDrawn="1"/>
        </p:nvSpPr>
        <p:spPr>
          <a:xfrm>
            <a:off x="0" y="10365"/>
            <a:ext cx="9144000" cy="68476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smtClean="0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9C673-E93A-4410-B521-B51C30BF34FA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929967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F26026-ED64-40EC-94EA-B0F0B3A41CBB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70943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CAB80-02AD-4133-B0BD-69EFFB945D29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80341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E61BD6-52A8-4C94-9784-3D308D5532E5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267219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5D6F6-259C-48EC-91FB-89C664DCA964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410927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90D3B-6448-43C1-8C80-37EFCF5F6EBD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568520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1E45D8-BF63-4CC1-94F2-5A1DD4CD314E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414510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0B9C1-69D1-4FE7-8508-E2BF47906756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07630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66406-9391-4A2C-9A45-F04C366097D8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588274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77C2A-CAA7-4215-A616-644DF0615E4A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246350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 smtClean="0"/>
              <a:t>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B1277-3BDC-4E24-9C02-CE927537DBBE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114822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 dirty="0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35551A-00E6-458A-AB5A-DBEBB5E387B4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46446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pic>
        <p:nvPicPr>
          <p:cNvPr id="7" name="Picture 47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6156" y="115888"/>
            <a:ext cx="535769" cy="596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AutoShape 31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auto">
          <a:xfrm>
            <a:off x="468314" y="712694"/>
            <a:ext cx="7704137" cy="46038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66CCFF"/>
              </a:gs>
              <a:gs pos="50000">
                <a:schemeClr val="bg1"/>
              </a:gs>
              <a:gs pos="100000">
                <a:srgbClr val="66CCFF"/>
              </a:gs>
            </a:gsLst>
            <a:lin ang="0" scaled="1"/>
          </a:gradFill>
          <a:ln w="9525">
            <a:solidFill>
              <a:srgbClr val="66CCFF"/>
            </a:solidFill>
            <a:round/>
            <a:headEnd/>
            <a:tailEnd/>
          </a:ln>
          <a:effectLst/>
        </p:spPr>
        <p:txBody>
          <a:bodyPr wrap="none" lIns="91430" tIns="45716" rIns="91430" bIns="45716" anchor="ctr"/>
          <a:lstStyle/>
          <a:p>
            <a:pPr defTabSz="895255">
              <a:defRPr/>
            </a:pPr>
            <a:endParaRPr lang="ja-JP" altLang="en-US" dirty="0">
              <a:solidFill>
                <a:prstClr val="black"/>
              </a:solidFill>
              <a:latin typeface="メイリオ" pitchFamily="50" charset="-128"/>
              <a:ea typeface="メイリオ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90168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oleObject" Target="../embeddings/oleObject1.bin"/><Relationship Id="rId18" Type="http://schemas.openxmlformats.org/officeDocument/2006/relationships/image" Target="../media/image4.wmf"/><Relationship Id="rId26" Type="http://schemas.openxmlformats.org/officeDocument/2006/relationships/image" Target="../media/image8.wmf"/><Relationship Id="rId3" Type="http://schemas.openxmlformats.org/officeDocument/2006/relationships/image" Target="../media/image11.png"/><Relationship Id="rId21" Type="http://schemas.openxmlformats.org/officeDocument/2006/relationships/oleObject" Target="../embeddings/oleObject5.bin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17" Type="http://schemas.openxmlformats.org/officeDocument/2006/relationships/oleObject" Target="../embeddings/oleObject3.bin"/><Relationship Id="rId25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3.wmf"/><Relationship Id="rId20" Type="http://schemas.openxmlformats.org/officeDocument/2006/relationships/image" Target="../media/image5.wmf"/><Relationship Id="rId29" Type="http://schemas.openxmlformats.org/officeDocument/2006/relationships/oleObject" Target="../embeddings/oleObject9.bin"/><Relationship Id="rId1" Type="http://schemas.openxmlformats.org/officeDocument/2006/relationships/vmlDrawing" Target="../drawings/vmlDrawing1.v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24" Type="http://schemas.openxmlformats.org/officeDocument/2006/relationships/image" Target="../media/image7.wmf"/><Relationship Id="rId5" Type="http://schemas.openxmlformats.org/officeDocument/2006/relationships/image" Target="../media/image13.png"/><Relationship Id="rId15" Type="http://schemas.openxmlformats.org/officeDocument/2006/relationships/oleObject" Target="../embeddings/oleObject2.bin"/><Relationship Id="rId23" Type="http://schemas.openxmlformats.org/officeDocument/2006/relationships/oleObject" Target="../embeddings/oleObject6.bin"/><Relationship Id="rId28" Type="http://schemas.openxmlformats.org/officeDocument/2006/relationships/image" Target="../media/image9.wmf"/><Relationship Id="rId10" Type="http://schemas.openxmlformats.org/officeDocument/2006/relationships/image" Target="../media/image18.png"/><Relationship Id="rId19" Type="http://schemas.openxmlformats.org/officeDocument/2006/relationships/oleObject" Target="../embeddings/oleObject4.bin"/><Relationship Id="rId4" Type="http://schemas.openxmlformats.org/officeDocument/2006/relationships/image" Target="../media/image12.png"/><Relationship Id="rId9" Type="http://schemas.openxmlformats.org/officeDocument/2006/relationships/image" Target="../media/image17.png"/><Relationship Id="rId14" Type="http://schemas.openxmlformats.org/officeDocument/2006/relationships/image" Target="../media/image2.wmf"/><Relationship Id="rId22" Type="http://schemas.openxmlformats.org/officeDocument/2006/relationships/image" Target="../media/image6.wmf"/><Relationship Id="rId27" Type="http://schemas.openxmlformats.org/officeDocument/2006/relationships/oleObject" Target="../embeddings/oleObject8.bin"/><Relationship Id="rId30" Type="http://schemas.openxmlformats.org/officeDocument/2006/relationships/image" Target="../media/image10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表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1271577"/>
              </p:ext>
            </p:extLst>
          </p:nvPr>
        </p:nvGraphicFramePr>
        <p:xfrm>
          <a:off x="345116" y="841829"/>
          <a:ext cx="8388000" cy="5587443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1368000"/>
                <a:gridCol w="2340000"/>
                <a:gridCol w="2340000"/>
                <a:gridCol w="2340000"/>
              </a:tblGrid>
              <a:tr h="1051443"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1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MS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ゴシック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2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新ゴ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-M</a:t>
                      </a:r>
                      <a:br>
                        <a:rPr kumimoji="1" lang="en-US" altLang="ja-JP" sz="2000" b="1" dirty="0" smtClean="0">
                          <a:latin typeface="+mn-ea"/>
                          <a:ea typeface="+mn-ea"/>
                        </a:rPr>
                      </a:b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　　＋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Helvetica</a:t>
                      </a:r>
                      <a:r>
                        <a:rPr lang="ja-JP" altLang="en-US" sz="20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枠装飾あり）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3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ヒラギノ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角ゴ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6000">
                <a:tc rowSpan="2"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基本形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576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936000">
                <a:tc rowSpan="2"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576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936000">
                <a:tc rowSpan="2"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2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)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576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3" name="図 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001" r="4829" b="8314"/>
          <a:stretch/>
        </p:blipFill>
        <p:spPr>
          <a:xfrm>
            <a:off x="539086" y="983037"/>
            <a:ext cx="1022678" cy="855364"/>
          </a:xfrm>
          <a:prstGeom prst="rect">
            <a:avLst/>
          </a:prstGeom>
        </p:spPr>
      </p:pic>
      <p:sp>
        <p:nvSpPr>
          <p:cNvPr id="370" name="テキスト ボックス 369"/>
          <p:cNvSpPr txBox="1"/>
          <p:nvPr/>
        </p:nvSpPr>
        <p:spPr>
          <a:xfrm>
            <a:off x="539086" y="139827"/>
            <a:ext cx="647484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3. </a:t>
            </a:r>
            <a:r>
              <a:rPr lang="en-US" altLang="ja-JP" sz="28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RMP</a:t>
            </a:r>
            <a:r>
              <a:rPr lang="ja-JP" altLang="en-US" sz="28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マーク</a:t>
            </a:r>
            <a:r>
              <a:rPr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（青＋白地）</a:t>
            </a:r>
            <a:r>
              <a:rPr lang="ja-JP" altLang="en-US" sz="28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r>
              <a:rPr lang="ja-JP" altLang="en-US" sz="20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黒・濃色背景用</a:t>
            </a:r>
          </a:p>
        </p:txBody>
      </p:sp>
      <p:sp>
        <p:nvSpPr>
          <p:cNvPr id="371" name="テキスト ボックス 370"/>
          <p:cNvSpPr txBox="1"/>
          <p:nvPr/>
        </p:nvSpPr>
        <p:spPr>
          <a:xfrm>
            <a:off x="2705864" y="6462291"/>
            <a:ext cx="6425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上記はサンプルです。サイズ等は適宜各社判断にてご活用下さい。</a:t>
            </a:r>
            <a:endParaRPr kumimoji="1" lang="ja-JP" altLang="en-US" sz="16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" name="スライド番号プレースホルダー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1</a:t>
            </a:fld>
            <a:endParaRPr kumimoji="1" lang="ja-JP" altLang="en-US"/>
          </a:p>
        </p:txBody>
      </p:sp>
      <p:pic>
        <p:nvPicPr>
          <p:cNvPr id="16" name="図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2946" y="1990652"/>
            <a:ext cx="2520701" cy="720853"/>
          </a:xfrm>
          <a:prstGeom prst="rect">
            <a:avLst/>
          </a:prstGeom>
        </p:spPr>
      </p:pic>
      <p:pic>
        <p:nvPicPr>
          <p:cNvPr id="24" name="図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2946" y="3502470"/>
            <a:ext cx="2520701" cy="722377"/>
          </a:xfrm>
          <a:prstGeom prst="rect">
            <a:avLst/>
          </a:prstGeom>
        </p:spPr>
      </p:pic>
      <p:pic>
        <p:nvPicPr>
          <p:cNvPr id="25" name="図 2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2946" y="5019817"/>
            <a:ext cx="2520701" cy="720853"/>
          </a:xfrm>
          <a:prstGeom prst="rect">
            <a:avLst/>
          </a:prstGeom>
        </p:spPr>
      </p:pic>
      <p:pic>
        <p:nvPicPr>
          <p:cNvPr id="26" name="図 2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2892" y="1990652"/>
            <a:ext cx="2522225" cy="720853"/>
          </a:xfrm>
          <a:prstGeom prst="rect">
            <a:avLst/>
          </a:prstGeom>
        </p:spPr>
      </p:pic>
      <p:pic>
        <p:nvPicPr>
          <p:cNvPr id="27" name="図 2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2892" y="3502470"/>
            <a:ext cx="2522225" cy="722377"/>
          </a:xfrm>
          <a:prstGeom prst="rect">
            <a:avLst/>
          </a:prstGeom>
        </p:spPr>
      </p:pic>
      <p:pic>
        <p:nvPicPr>
          <p:cNvPr id="28" name="図 2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2892" y="5019817"/>
            <a:ext cx="2522225" cy="720853"/>
          </a:xfrm>
          <a:prstGeom prst="rect">
            <a:avLst/>
          </a:prstGeom>
        </p:spPr>
      </p:pic>
      <p:pic>
        <p:nvPicPr>
          <p:cNvPr id="29" name="図 2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925" y="1990652"/>
            <a:ext cx="2522225" cy="720853"/>
          </a:xfrm>
          <a:prstGeom prst="rect">
            <a:avLst/>
          </a:prstGeom>
        </p:spPr>
      </p:pic>
      <p:pic>
        <p:nvPicPr>
          <p:cNvPr id="30" name="図 2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925" y="3502470"/>
            <a:ext cx="2522225" cy="722377"/>
          </a:xfrm>
          <a:prstGeom prst="rect">
            <a:avLst/>
          </a:prstGeom>
        </p:spPr>
      </p:pic>
      <p:pic>
        <p:nvPicPr>
          <p:cNvPr id="31" name="図 3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925" y="5019817"/>
            <a:ext cx="2522225" cy="720853"/>
          </a:xfrm>
          <a:prstGeom prst="rect">
            <a:avLst/>
          </a:prstGeom>
        </p:spPr>
      </p:pic>
      <p:graphicFrame>
        <p:nvGraphicFramePr>
          <p:cNvPr id="4" name="オブジェクト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01285300"/>
              </p:ext>
            </p:extLst>
          </p:nvPr>
        </p:nvGraphicFramePr>
        <p:xfrm>
          <a:off x="2235713" y="5964778"/>
          <a:ext cx="1277938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8" name="パッケージャー シェル オブジェクト" showAsIcon="1" r:id="rId13" imgW="1277640" imgH="364680" progId="Package">
                  <p:embed/>
                </p:oleObj>
              </mc:Choice>
              <mc:Fallback>
                <p:oleObj name="パッケージャー シェル オブジェクト" showAsIcon="1" r:id="rId13" imgW="127764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235713" y="5964778"/>
                        <a:ext cx="1277938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オブジェクト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84960275"/>
              </p:ext>
            </p:extLst>
          </p:nvPr>
        </p:nvGraphicFramePr>
        <p:xfrm>
          <a:off x="2286513" y="2938856"/>
          <a:ext cx="1176338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9" name="パッケージャー シェル オブジェクト" showAsIcon="1" r:id="rId15" imgW="1176480" imgH="364680" progId="Package">
                  <p:embed/>
                </p:oleObj>
              </mc:Choice>
              <mc:Fallback>
                <p:oleObj name="パッケージャー シェル オブジェクト" showAsIcon="1" r:id="rId15" imgW="117648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286513" y="2938856"/>
                        <a:ext cx="1176338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オブジェクト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98699348"/>
              </p:ext>
            </p:extLst>
          </p:nvPr>
        </p:nvGraphicFramePr>
        <p:xfrm>
          <a:off x="2235713" y="4448478"/>
          <a:ext cx="1277938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0" name="パッケージャー シェル オブジェクト" showAsIcon="1" r:id="rId17" imgW="1277640" imgH="364680" progId="Package">
                  <p:embed/>
                </p:oleObj>
              </mc:Choice>
              <mc:Fallback>
                <p:oleObj name="パッケージャー シェル オブジェクト" showAsIcon="1" r:id="rId17" imgW="127764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235713" y="4448478"/>
                        <a:ext cx="1277938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オブジェクト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80580938"/>
              </p:ext>
            </p:extLst>
          </p:nvPr>
        </p:nvGraphicFramePr>
        <p:xfrm>
          <a:off x="4563908" y="5964778"/>
          <a:ext cx="1311276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1" name="パッケージャー シェル オブジェクト" showAsIcon="1" r:id="rId19" imgW="1311120" imgH="364680" progId="Package">
                  <p:embed/>
                </p:oleObj>
              </mc:Choice>
              <mc:Fallback>
                <p:oleObj name="パッケージャー シェル オブジェクト" showAsIcon="1" r:id="rId19" imgW="131112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4563908" y="5964778"/>
                        <a:ext cx="1311276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オブジェクト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69350574"/>
              </p:ext>
            </p:extLst>
          </p:nvPr>
        </p:nvGraphicFramePr>
        <p:xfrm>
          <a:off x="4614708" y="2938856"/>
          <a:ext cx="1209676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2" name="パッケージャー シェル オブジェクト" showAsIcon="1" r:id="rId21" imgW="1210320" imgH="364680" progId="Package">
                  <p:embed/>
                </p:oleObj>
              </mc:Choice>
              <mc:Fallback>
                <p:oleObj name="パッケージャー シェル オブジェクト" showAsIcon="1" r:id="rId21" imgW="121032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4614708" y="2938856"/>
                        <a:ext cx="1209676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オブジェクト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92291676"/>
              </p:ext>
            </p:extLst>
          </p:nvPr>
        </p:nvGraphicFramePr>
        <p:xfrm>
          <a:off x="4563908" y="4448478"/>
          <a:ext cx="1311276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3" name="パッケージャー シェル オブジェクト" showAsIcon="1" r:id="rId23" imgW="1311120" imgH="364680" progId="Package">
                  <p:embed/>
                </p:oleObj>
              </mc:Choice>
              <mc:Fallback>
                <p:oleObj name="パッケージャー シェル オブジェクト" showAsIcon="1" r:id="rId23" imgW="131112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4563908" y="4448478"/>
                        <a:ext cx="1311276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オブジェクト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31475834"/>
              </p:ext>
            </p:extLst>
          </p:nvPr>
        </p:nvGraphicFramePr>
        <p:xfrm>
          <a:off x="6942000" y="2938856"/>
          <a:ext cx="1263650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4" name="パッケージャー シェル オブジェクト" showAsIcon="1" r:id="rId25" imgW="1263960" imgH="364680" progId="Package">
                  <p:embed/>
                </p:oleObj>
              </mc:Choice>
              <mc:Fallback>
                <p:oleObj name="パッケージャー シェル オブジェクト" showAsIcon="1" r:id="rId25" imgW="12639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6942000" y="2938856"/>
                        <a:ext cx="1263650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オブジェクト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02052708"/>
              </p:ext>
            </p:extLst>
          </p:nvPr>
        </p:nvGraphicFramePr>
        <p:xfrm>
          <a:off x="6891200" y="4448478"/>
          <a:ext cx="1365250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5" name="パッケージャー シェル オブジェクト" showAsIcon="1" r:id="rId27" imgW="1364760" imgH="364680" progId="Package">
                  <p:embed/>
                </p:oleObj>
              </mc:Choice>
              <mc:Fallback>
                <p:oleObj name="パッケージャー シェル オブジェクト" showAsIcon="1" r:id="rId27" imgW="13647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6891200" y="4448478"/>
                        <a:ext cx="1365250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オブジェクト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58651503"/>
              </p:ext>
            </p:extLst>
          </p:nvPr>
        </p:nvGraphicFramePr>
        <p:xfrm>
          <a:off x="6891200" y="5964778"/>
          <a:ext cx="1365250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6" name="パッケージャー シェル オブジェクト" showAsIcon="1" r:id="rId29" imgW="1364760" imgH="364680" progId="Package">
                  <p:embed/>
                </p:oleObj>
              </mc:Choice>
              <mc:Fallback>
                <p:oleObj name="パッケージャー シェル オブジェクト" showAsIcon="1" r:id="rId29" imgW="13647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6891200" y="5964778"/>
                        <a:ext cx="1365250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54619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2X2meiYJUeOxhFKzokxsw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1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76</TotalTime>
  <Words>63</Words>
  <Application>Microsoft Office PowerPoint</Application>
  <PresentationFormat>画面に合わせる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8" baseType="lpstr">
      <vt:lpstr>Meiryo UI</vt:lpstr>
      <vt:lpstr>ＭＳ Ｐゴシック</vt:lpstr>
      <vt:lpstr>メイリオ</vt:lpstr>
      <vt:lpstr>Arial</vt:lpstr>
      <vt:lpstr>Calibri</vt:lpstr>
      <vt:lpstr>Office テーマ</vt:lpstr>
      <vt:lpstr>パッケージャー シェル オブジェクト</vt:lpstr>
      <vt:lpstr>PowerPoint プレゼンテーション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Kumagai,Haruka 熊谷遥(営業業務部ＳＣＭ－Ｇ)</dc:creator>
  <cp:lastModifiedBy>Kumagai,Haruka 熊谷遥(営業業務部ＳＣＭ－Ｇ)</cp:lastModifiedBy>
  <cp:revision>122</cp:revision>
  <cp:lastPrinted>2017-06-29T12:14:47Z</cp:lastPrinted>
  <dcterms:created xsi:type="dcterms:W3CDTF">2017-06-13T01:38:36Z</dcterms:created>
  <dcterms:modified xsi:type="dcterms:W3CDTF">2017-07-03T04:28:13Z</dcterms:modified>
</cp:coreProperties>
</file>